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2"/>
  </p:notesMasterIdLst>
  <p:sldIdLst>
    <p:sldId id="256" r:id="rId3"/>
    <p:sldId id="257" r:id="rId4"/>
    <p:sldId id="262" r:id="rId5"/>
    <p:sldId id="258" r:id="rId6"/>
    <p:sldId id="263" r:id="rId7"/>
    <p:sldId id="260" r:id="rId8"/>
    <p:sldId id="264" r:id="rId9"/>
    <p:sldId id="265" r:id="rId10"/>
    <p:sldId id="266" r:id="rId11"/>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5" roundtripDataSignature="AMtx7mggHTocux73eUUS8qCNXO43N9vIV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geeta Chatterjee" initials="SC" lastIdx="1" clrIdx="0">
    <p:extLst>
      <p:ext uri="{19B8F6BF-5375-455C-9EA6-DF929625EA0E}">
        <p15:presenceInfo xmlns:p15="http://schemas.microsoft.com/office/powerpoint/2012/main" userId="66e5ecfe158147c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9FE7F9-9D05-49A5-9219-04C795600E0D}" v="16" dt="2020-06-11T16:18:32.4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1" d="100"/>
          <a:sy n="101" d="100"/>
        </p:scale>
        <p:origin x="904" y="76"/>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slide" Target="slides/slide1.xml"/><Relationship Id="rId21"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customschemas.google.com/relationships/presentationmetadata" Target="metadata"/><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geeta Chatterjee" userId="66e5ecfe158147c5" providerId="LiveId" clId="{5D9FE7F9-9D05-49A5-9219-04C795600E0D}"/>
    <pc:docChg chg="undo custSel delSld modSld sldOrd">
      <pc:chgData name="Sangeeta Chatterjee" userId="66e5ecfe158147c5" providerId="LiveId" clId="{5D9FE7F9-9D05-49A5-9219-04C795600E0D}" dt="2020-06-11T16:31:04.118" v="5008" actId="313"/>
      <pc:docMkLst>
        <pc:docMk/>
      </pc:docMkLst>
      <pc:sldChg chg="modSp mod">
        <pc:chgData name="Sangeeta Chatterjee" userId="66e5ecfe158147c5" providerId="LiveId" clId="{5D9FE7F9-9D05-49A5-9219-04C795600E0D}" dt="2020-06-10T21:08:15.945" v="1060" actId="20577"/>
        <pc:sldMkLst>
          <pc:docMk/>
          <pc:sldMk cId="0" sldId="257"/>
        </pc:sldMkLst>
        <pc:spChg chg="mod">
          <ac:chgData name="Sangeeta Chatterjee" userId="66e5ecfe158147c5" providerId="LiveId" clId="{5D9FE7F9-9D05-49A5-9219-04C795600E0D}" dt="2020-06-10T20:46:34.310" v="247" actId="20577"/>
          <ac:spMkLst>
            <pc:docMk/>
            <pc:sldMk cId="0" sldId="257"/>
            <ac:spMk id="48" creationId="{00000000-0000-0000-0000-000000000000}"/>
          </ac:spMkLst>
        </pc:spChg>
        <pc:spChg chg="mod">
          <ac:chgData name="Sangeeta Chatterjee" userId="66e5ecfe158147c5" providerId="LiveId" clId="{5D9FE7F9-9D05-49A5-9219-04C795600E0D}" dt="2020-06-10T20:47:41.606" v="305" actId="20577"/>
          <ac:spMkLst>
            <pc:docMk/>
            <pc:sldMk cId="0" sldId="257"/>
            <ac:spMk id="51" creationId="{00000000-0000-0000-0000-000000000000}"/>
          </ac:spMkLst>
        </pc:spChg>
        <pc:spChg chg="mod">
          <ac:chgData name="Sangeeta Chatterjee" userId="66e5ecfe158147c5" providerId="LiveId" clId="{5D9FE7F9-9D05-49A5-9219-04C795600E0D}" dt="2020-06-10T20:55:07.163" v="527" actId="20577"/>
          <ac:spMkLst>
            <pc:docMk/>
            <pc:sldMk cId="0" sldId="257"/>
            <ac:spMk id="54" creationId="{00000000-0000-0000-0000-000000000000}"/>
          </ac:spMkLst>
        </pc:spChg>
        <pc:spChg chg="mod">
          <ac:chgData name="Sangeeta Chatterjee" userId="66e5ecfe158147c5" providerId="LiveId" clId="{5D9FE7F9-9D05-49A5-9219-04C795600E0D}" dt="2020-06-10T20:57:17.022" v="590" actId="20577"/>
          <ac:spMkLst>
            <pc:docMk/>
            <pc:sldMk cId="0" sldId="257"/>
            <ac:spMk id="56" creationId="{00000000-0000-0000-0000-000000000000}"/>
          </ac:spMkLst>
        </pc:spChg>
        <pc:spChg chg="mod">
          <ac:chgData name="Sangeeta Chatterjee" userId="66e5ecfe158147c5" providerId="LiveId" clId="{5D9FE7F9-9D05-49A5-9219-04C795600E0D}" dt="2020-06-10T20:59:16.322" v="832" actId="20577"/>
          <ac:spMkLst>
            <pc:docMk/>
            <pc:sldMk cId="0" sldId="257"/>
            <ac:spMk id="59" creationId="{00000000-0000-0000-0000-000000000000}"/>
          </ac:spMkLst>
        </pc:spChg>
        <pc:spChg chg="mod">
          <ac:chgData name="Sangeeta Chatterjee" userId="66e5ecfe158147c5" providerId="LiveId" clId="{5D9FE7F9-9D05-49A5-9219-04C795600E0D}" dt="2020-06-10T20:59:57.434" v="885" actId="20577"/>
          <ac:spMkLst>
            <pc:docMk/>
            <pc:sldMk cId="0" sldId="257"/>
            <ac:spMk id="63" creationId="{00000000-0000-0000-0000-000000000000}"/>
          </ac:spMkLst>
        </pc:spChg>
        <pc:spChg chg="mod">
          <ac:chgData name="Sangeeta Chatterjee" userId="66e5ecfe158147c5" providerId="LiveId" clId="{5D9FE7F9-9D05-49A5-9219-04C795600E0D}" dt="2020-06-10T21:08:15.945" v="1060" actId="20577"/>
          <ac:spMkLst>
            <pc:docMk/>
            <pc:sldMk cId="0" sldId="257"/>
            <ac:spMk id="64" creationId="{00000000-0000-0000-0000-000000000000}"/>
          </ac:spMkLst>
        </pc:spChg>
      </pc:sldChg>
      <pc:sldChg chg="addSp delSp modSp mod">
        <pc:chgData name="Sangeeta Chatterjee" userId="66e5ecfe158147c5" providerId="LiveId" clId="{5D9FE7F9-9D05-49A5-9219-04C795600E0D}" dt="2020-06-11T11:04:42.660" v="2506" actId="20577"/>
        <pc:sldMkLst>
          <pc:docMk/>
          <pc:sldMk cId="0" sldId="258"/>
        </pc:sldMkLst>
        <pc:spChg chg="mod">
          <ac:chgData name="Sangeeta Chatterjee" userId="66e5ecfe158147c5" providerId="LiveId" clId="{5D9FE7F9-9D05-49A5-9219-04C795600E0D}" dt="2020-06-11T11:04:42.660" v="2506" actId="20577"/>
          <ac:spMkLst>
            <pc:docMk/>
            <pc:sldMk cId="0" sldId="258"/>
            <ac:spMk id="29" creationId="{92FBE7FC-3C37-46EB-908B-DBBC94011C5A}"/>
          </ac:spMkLst>
        </pc:spChg>
        <pc:spChg chg="mod">
          <ac:chgData name="Sangeeta Chatterjee" userId="66e5ecfe158147c5" providerId="LiveId" clId="{5D9FE7F9-9D05-49A5-9219-04C795600E0D}" dt="2020-06-11T11:01:15.209" v="2362" actId="1036"/>
          <ac:spMkLst>
            <pc:docMk/>
            <pc:sldMk cId="0" sldId="258"/>
            <ac:spMk id="30" creationId="{1EB68860-B80F-46C7-B962-03DEAE6D6400}"/>
          </ac:spMkLst>
        </pc:spChg>
        <pc:spChg chg="mod">
          <ac:chgData name="Sangeeta Chatterjee" userId="66e5ecfe158147c5" providerId="LiveId" clId="{5D9FE7F9-9D05-49A5-9219-04C795600E0D}" dt="2020-06-11T10:53:45.977" v="2234" actId="20577"/>
          <ac:spMkLst>
            <pc:docMk/>
            <pc:sldMk cId="0" sldId="258"/>
            <ac:spMk id="70" creationId="{00000000-0000-0000-0000-000000000000}"/>
          </ac:spMkLst>
        </pc:spChg>
        <pc:picChg chg="add mod">
          <ac:chgData name="Sangeeta Chatterjee" userId="66e5ecfe158147c5" providerId="LiveId" clId="{5D9FE7F9-9D05-49A5-9219-04C795600E0D}" dt="2020-06-11T11:01:19.775" v="2363" actId="14100"/>
          <ac:picMkLst>
            <pc:docMk/>
            <pc:sldMk cId="0" sldId="258"/>
            <ac:picMk id="10" creationId="{C666076D-4783-4726-ABE6-3A8FC317AC46}"/>
          </ac:picMkLst>
        </pc:picChg>
        <pc:picChg chg="del mod">
          <ac:chgData name="Sangeeta Chatterjee" userId="66e5ecfe158147c5" providerId="LiveId" clId="{5D9FE7F9-9D05-49A5-9219-04C795600E0D}" dt="2020-06-11T11:00:28.969" v="2236" actId="478"/>
          <ac:picMkLst>
            <pc:docMk/>
            <pc:sldMk cId="0" sldId="258"/>
            <ac:picMk id="14" creationId="{2E3560A6-06B8-4D1B-AABF-5AC4734642B6}"/>
          </ac:picMkLst>
        </pc:picChg>
      </pc:sldChg>
      <pc:sldChg chg="del">
        <pc:chgData name="Sangeeta Chatterjee" userId="66e5ecfe158147c5" providerId="LiveId" clId="{5D9FE7F9-9D05-49A5-9219-04C795600E0D}" dt="2020-06-11T11:05:08.201" v="2507" actId="2696"/>
        <pc:sldMkLst>
          <pc:docMk/>
          <pc:sldMk cId="0" sldId="259"/>
        </pc:sldMkLst>
      </pc:sldChg>
      <pc:sldChg chg="addSp delSp modSp mod ord">
        <pc:chgData name="Sangeeta Chatterjee" userId="66e5ecfe158147c5" providerId="LiveId" clId="{5D9FE7F9-9D05-49A5-9219-04C795600E0D}" dt="2020-06-11T15:55:28.270" v="3845" actId="20577"/>
        <pc:sldMkLst>
          <pc:docMk/>
          <pc:sldMk cId="0" sldId="260"/>
        </pc:sldMkLst>
        <pc:spChg chg="add del mod">
          <ac:chgData name="Sangeeta Chatterjee" userId="66e5ecfe158147c5" providerId="LiveId" clId="{5D9FE7F9-9D05-49A5-9219-04C795600E0D}" dt="2020-06-11T11:17:22.639" v="3448" actId="20577"/>
          <ac:spMkLst>
            <pc:docMk/>
            <pc:sldMk cId="0" sldId="260"/>
            <ac:spMk id="13" creationId="{25C8698E-B999-4BD6-8018-17A1314B7DB3}"/>
          </ac:spMkLst>
        </pc:spChg>
        <pc:spChg chg="add del mod">
          <ac:chgData name="Sangeeta Chatterjee" userId="66e5ecfe158147c5" providerId="LiveId" clId="{5D9FE7F9-9D05-49A5-9219-04C795600E0D}" dt="2020-06-11T11:14:02.085" v="3106" actId="1076"/>
          <ac:spMkLst>
            <pc:docMk/>
            <pc:sldMk cId="0" sldId="260"/>
            <ac:spMk id="14" creationId="{041ED4FA-FB74-4158-8F2C-7A65C921819D}"/>
          </ac:spMkLst>
        </pc:spChg>
        <pc:spChg chg="mod">
          <ac:chgData name="Sangeeta Chatterjee" userId="66e5ecfe158147c5" providerId="LiveId" clId="{5D9FE7F9-9D05-49A5-9219-04C795600E0D}" dt="2020-06-11T15:55:28.270" v="3845" actId="20577"/>
          <ac:spMkLst>
            <pc:docMk/>
            <pc:sldMk cId="0" sldId="260"/>
            <ac:spMk id="103" creationId="{00000000-0000-0000-0000-000000000000}"/>
          </ac:spMkLst>
        </pc:spChg>
        <pc:graphicFrameChg chg="del">
          <ac:chgData name="Sangeeta Chatterjee" userId="66e5ecfe158147c5" providerId="LiveId" clId="{5D9FE7F9-9D05-49A5-9219-04C795600E0D}" dt="2020-06-11T11:07:58.078" v="2508" actId="478"/>
          <ac:graphicFrameMkLst>
            <pc:docMk/>
            <pc:sldMk cId="0" sldId="260"/>
            <ac:graphicFrameMk id="7" creationId="{3FB4CDAA-D4A1-4D89-8AC2-6E774D9D739C}"/>
          </ac:graphicFrameMkLst>
        </pc:graphicFrameChg>
        <pc:graphicFrameChg chg="del">
          <ac:chgData name="Sangeeta Chatterjee" userId="66e5ecfe158147c5" providerId="LiveId" clId="{5D9FE7F9-9D05-49A5-9219-04C795600E0D}" dt="2020-06-11T11:08:00.698" v="2509" actId="478"/>
          <ac:graphicFrameMkLst>
            <pc:docMk/>
            <pc:sldMk cId="0" sldId="260"/>
            <ac:graphicFrameMk id="8" creationId="{F8B0C8AF-091B-41F2-AF3A-83C7550CBE2D}"/>
          </ac:graphicFrameMkLst>
        </pc:graphicFrameChg>
        <pc:picChg chg="add mod">
          <ac:chgData name="Sangeeta Chatterjee" userId="66e5ecfe158147c5" providerId="LiveId" clId="{5D9FE7F9-9D05-49A5-9219-04C795600E0D}" dt="2020-06-11T11:09:14.080" v="2630" actId="14100"/>
          <ac:picMkLst>
            <pc:docMk/>
            <pc:sldMk cId="0" sldId="260"/>
            <ac:picMk id="9" creationId="{FDE94B20-28A9-4002-AABD-BA457F05064B}"/>
          </ac:picMkLst>
        </pc:picChg>
        <pc:picChg chg="add mod">
          <ac:chgData name="Sangeeta Chatterjee" userId="66e5ecfe158147c5" providerId="LiveId" clId="{5D9FE7F9-9D05-49A5-9219-04C795600E0D}" dt="2020-06-11T11:13:17.069" v="3100" actId="1076"/>
          <ac:picMkLst>
            <pc:docMk/>
            <pc:sldMk cId="0" sldId="260"/>
            <ac:picMk id="10" creationId="{9B9E8095-F9B8-4D06-8429-5A84CF4A20DA}"/>
          </ac:picMkLst>
        </pc:picChg>
        <pc:picChg chg="add mod">
          <ac:chgData name="Sangeeta Chatterjee" userId="66e5ecfe158147c5" providerId="LiveId" clId="{5D9FE7F9-9D05-49A5-9219-04C795600E0D}" dt="2020-06-11T11:10:03.383" v="2837" actId="14100"/>
          <ac:picMkLst>
            <pc:docMk/>
            <pc:sldMk cId="0" sldId="260"/>
            <ac:picMk id="12" creationId="{F62EB8C9-41EE-4DA3-9931-727B34833B6D}"/>
          </ac:picMkLst>
        </pc:picChg>
      </pc:sldChg>
      <pc:sldChg chg="del">
        <pc:chgData name="Sangeeta Chatterjee" userId="66e5ecfe158147c5" providerId="LiveId" clId="{5D9FE7F9-9D05-49A5-9219-04C795600E0D}" dt="2020-06-11T16:15:43.175" v="4284" actId="47"/>
        <pc:sldMkLst>
          <pc:docMk/>
          <pc:sldMk cId="0" sldId="261"/>
        </pc:sldMkLst>
      </pc:sldChg>
      <pc:sldChg chg="addSp modSp mod">
        <pc:chgData name="Sangeeta Chatterjee" userId="66e5ecfe158147c5" providerId="LiveId" clId="{5D9FE7F9-9D05-49A5-9219-04C795600E0D}" dt="2020-06-11T10:36:07.672" v="2063" actId="20577"/>
        <pc:sldMkLst>
          <pc:docMk/>
          <pc:sldMk cId="3305604549" sldId="262"/>
        </pc:sldMkLst>
        <pc:spChg chg="add mod">
          <ac:chgData name="Sangeeta Chatterjee" userId="66e5ecfe158147c5" providerId="LiveId" clId="{5D9FE7F9-9D05-49A5-9219-04C795600E0D}" dt="2020-06-11T10:33:15.922" v="1719" actId="1036"/>
          <ac:spMkLst>
            <pc:docMk/>
            <pc:sldMk cId="3305604549" sldId="262"/>
            <ac:spMk id="14" creationId="{BFCB806B-3588-434D-AD66-270E7BF71F96}"/>
          </ac:spMkLst>
        </pc:spChg>
        <pc:spChg chg="add mod">
          <ac:chgData name="Sangeeta Chatterjee" userId="66e5ecfe158147c5" providerId="LiveId" clId="{5D9FE7F9-9D05-49A5-9219-04C795600E0D}" dt="2020-06-11T10:34:19.773" v="1845" actId="1076"/>
          <ac:spMkLst>
            <pc:docMk/>
            <pc:sldMk cId="3305604549" sldId="262"/>
            <ac:spMk id="15" creationId="{E3D8E598-0986-4EBD-B810-1B4074C79BF8}"/>
          </ac:spMkLst>
        </pc:spChg>
        <pc:spChg chg="add mod">
          <ac:chgData name="Sangeeta Chatterjee" userId="66e5ecfe158147c5" providerId="LiveId" clId="{5D9FE7F9-9D05-49A5-9219-04C795600E0D}" dt="2020-06-11T10:34:15.290" v="1844" actId="6549"/>
          <ac:spMkLst>
            <pc:docMk/>
            <pc:sldMk cId="3305604549" sldId="262"/>
            <ac:spMk id="16" creationId="{C501D82A-90F9-4119-9551-7043C3C7F080}"/>
          </ac:spMkLst>
        </pc:spChg>
        <pc:spChg chg="add mod">
          <ac:chgData name="Sangeeta Chatterjee" userId="66e5ecfe158147c5" providerId="LiveId" clId="{5D9FE7F9-9D05-49A5-9219-04C795600E0D}" dt="2020-06-11T10:36:07.672" v="2063" actId="20577"/>
          <ac:spMkLst>
            <pc:docMk/>
            <pc:sldMk cId="3305604549" sldId="262"/>
            <ac:spMk id="17" creationId="{F15D1729-CE82-48E2-B3A5-83553779028A}"/>
          </ac:spMkLst>
        </pc:spChg>
        <pc:spChg chg="mod">
          <ac:chgData name="Sangeeta Chatterjee" userId="66e5ecfe158147c5" providerId="LiveId" clId="{5D9FE7F9-9D05-49A5-9219-04C795600E0D}" dt="2020-06-10T21:56:17.021" v="1264" actId="20577"/>
          <ac:spMkLst>
            <pc:docMk/>
            <pc:sldMk cId="3305604549" sldId="262"/>
            <ac:spMk id="48" creationId="{00000000-0000-0000-0000-000000000000}"/>
          </ac:spMkLst>
        </pc:spChg>
        <pc:spChg chg="mod">
          <ac:chgData name="Sangeeta Chatterjee" userId="66e5ecfe158147c5" providerId="LiveId" clId="{5D9FE7F9-9D05-49A5-9219-04C795600E0D}" dt="2020-06-10T21:57:02.465" v="1307" actId="20577"/>
          <ac:spMkLst>
            <pc:docMk/>
            <pc:sldMk cId="3305604549" sldId="262"/>
            <ac:spMk id="51" creationId="{00000000-0000-0000-0000-000000000000}"/>
          </ac:spMkLst>
        </pc:spChg>
        <pc:spChg chg="mod">
          <ac:chgData name="Sangeeta Chatterjee" userId="66e5ecfe158147c5" providerId="LiveId" clId="{5D9FE7F9-9D05-49A5-9219-04C795600E0D}" dt="2020-06-10T21:57:45.378" v="1403" actId="20577"/>
          <ac:spMkLst>
            <pc:docMk/>
            <pc:sldMk cId="3305604549" sldId="262"/>
            <ac:spMk id="54" creationId="{00000000-0000-0000-0000-000000000000}"/>
          </ac:spMkLst>
        </pc:spChg>
        <pc:spChg chg="mod">
          <ac:chgData name="Sangeeta Chatterjee" userId="66e5ecfe158147c5" providerId="LiveId" clId="{5D9FE7F9-9D05-49A5-9219-04C795600E0D}" dt="2020-06-11T10:33:21.453" v="1731" actId="1035"/>
          <ac:spMkLst>
            <pc:docMk/>
            <pc:sldMk cId="3305604549" sldId="262"/>
            <ac:spMk id="55" creationId="{00000000-0000-0000-0000-000000000000}"/>
          </ac:spMkLst>
        </pc:spChg>
        <pc:spChg chg="mod">
          <ac:chgData name="Sangeeta Chatterjee" userId="66e5ecfe158147c5" providerId="LiveId" clId="{5D9FE7F9-9D05-49A5-9219-04C795600E0D}" dt="2020-06-11T10:32:44.807" v="1626" actId="20577"/>
          <ac:spMkLst>
            <pc:docMk/>
            <pc:sldMk cId="3305604549" sldId="262"/>
            <ac:spMk id="56" creationId="{00000000-0000-0000-0000-000000000000}"/>
          </ac:spMkLst>
        </pc:spChg>
        <pc:spChg chg="mod">
          <ac:chgData name="Sangeeta Chatterjee" userId="66e5ecfe158147c5" providerId="LiveId" clId="{5D9FE7F9-9D05-49A5-9219-04C795600E0D}" dt="2020-06-11T10:33:21.453" v="1731" actId="1035"/>
          <ac:spMkLst>
            <pc:docMk/>
            <pc:sldMk cId="3305604549" sldId="262"/>
            <ac:spMk id="58" creationId="{00000000-0000-0000-0000-000000000000}"/>
          </ac:spMkLst>
        </pc:spChg>
        <pc:spChg chg="mod">
          <ac:chgData name="Sangeeta Chatterjee" userId="66e5ecfe158147c5" providerId="LiveId" clId="{5D9FE7F9-9D05-49A5-9219-04C795600E0D}" dt="2020-06-11T10:32:56.504" v="1628" actId="20577"/>
          <ac:spMkLst>
            <pc:docMk/>
            <pc:sldMk cId="3305604549" sldId="262"/>
            <ac:spMk id="59" creationId="{00000000-0000-0000-0000-000000000000}"/>
          </ac:spMkLst>
        </pc:spChg>
      </pc:sldChg>
      <pc:sldChg chg="addSp delSp modSp mod">
        <pc:chgData name="Sangeeta Chatterjee" userId="66e5ecfe158147c5" providerId="LiveId" clId="{5D9FE7F9-9D05-49A5-9219-04C795600E0D}" dt="2020-06-11T16:07:06.352" v="4016" actId="255"/>
        <pc:sldMkLst>
          <pc:docMk/>
          <pc:sldMk cId="854780840" sldId="263"/>
        </pc:sldMkLst>
        <pc:spChg chg="mod">
          <ac:chgData name="Sangeeta Chatterjee" userId="66e5ecfe158147c5" providerId="LiveId" clId="{5D9FE7F9-9D05-49A5-9219-04C795600E0D}" dt="2020-06-11T16:07:06.352" v="4016" actId="255"/>
          <ac:spMkLst>
            <pc:docMk/>
            <pc:sldMk cId="854780840" sldId="263"/>
            <ac:spMk id="103" creationId="{00000000-0000-0000-0000-000000000000}"/>
          </ac:spMkLst>
        </pc:spChg>
        <pc:graphicFrameChg chg="del">
          <ac:chgData name="Sangeeta Chatterjee" userId="66e5ecfe158147c5" providerId="LiveId" clId="{5D9FE7F9-9D05-49A5-9219-04C795600E0D}" dt="2020-06-11T15:27:42.096" v="3449" actId="478"/>
          <ac:graphicFrameMkLst>
            <pc:docMk/>
            <pc:sldMk cId="854780840" sldId="263"/>
            <ac:graphicFrameMk id="7" creationId="{5808FEC8-8564-4C27-9419-20F3867955EC}"/>
          </ac:graphicFrameMkLst>
        </pc:graphicFrameChg>
        <pc:graphicFrameChg chg="del">
          <ac:chgData name="Sangeeta Chatterjee" userId="66e5ecfe158147c5" providerId="LiveId" clId="{5D9FE7F9-9D05-49A5-9219-04C795600E0D}" dt="2020-06-11T15:27:44.288" v="3450" actId="478"/>
          <ac:graphicFrameMkLst>
            <pc:docMk/>
            <pc:sldMk cId="854780840" sldId="263"/>
            <ac:graphicFrameMk id="9" creationId="{C7461C0D-BAB5-4FB9-9B42-FF57683E19F3}"/>
          </ac:graphicFrameMkLst>
        </pc:graphicFrameChg>
        <pc:picChg chg="add mod">
          <ac:chgData name="Sangeeta Chatterjee" userId="66e5ecfe158147c5" providerId="LiveId" clId="{5D9FE7F9-9D05-49A5-9219-04C795600E0D}" dt="2020-06-11T15:31:16.498" v="3648" actId="14100"/>
          <ac:picMkLst>
            <pc:docMk/>
            <pc:sldMk cId="854780840" sldId="263"/>
            <ac:picMk id="3" creationId="{4BAD3363-95A7-4F89-9AE6-8F506454C2B1}"/>
          </ac:picMkLst>
        </pc:picChg>
        <pc:picChg chg="add mod">
          <ac:chgData name="Sangeeta Chatterjee" userId="66e5ecfe158147c5" providerId="LiveId" clId="{5D9FE7F9-9D05-49A5-9219-04C795600E0D}" dt="2020-06-11T15:30:25.367" v="3607" actId="14100"/>
          <ac:picMkLst>
            <pc:docMk/>
            <pc:sldMk cId="854780840" sldId="263"/>
            <ac:picMk id="5" creationId="{E2AF696A-7D31-4EBE-AEFB-E406D9FA29CB}"/>
          </ac:picMkLst>
        </pc:picChg>
        <pc:picChg chg="add mod">
          <ac:chgData name="Sangeeta Chatterjee" userId="66e5ecfe158147c5" providerId="LiveId" clId="{5D9FE7F9-9D05-49A5-9219-04C795600E0D}" dt="2020-06-11T15:30:40.183" v="3641" actId="14100"/>
          <ac:picMkLst>
            <pc:docMk/>
            <pc:sldMk cId="854780840" sldId="263"/>
            <ac:picMk id="8" creationId="{D873EF2A-D720-4E8C-ACA1-3BAB6DE1FF00}"/>
          </ac:picMkLst>
        </pc:picChg>
        <pc:picChg chg="add mod">
          <ac:chgData name="Sangeeta Chatterjee" userId="66e5ecfe158147c5" providerId="LiveId" clId="{5D9FE7F9-9D05-49A5-9219-04C795600E0D}" dt="2020-06-11T15:31:03.531" v="3646" actId="14100"/>
          <ac:picMkLst>
            <pc:docMk/>
            <pc:sldMk cId="854780840" sldId="263"/>
            <ac:picMk id="11" creationId="{D7867AEB-9AE4-4923-AFB5-C992BA4C9561}"/>
          </ac:picMkLst>
        </pc:picChg>
      </pc:sldChg>
      <pc:sldChg chg="addSp delSp modSp mod">
        <pc:chgData name="Sangeeta Chatterjee" userId="66e5ecfe158147c5" providerId="LiveId" clId="{5D9FE7F9-9D05-49A5-9219-04C795600E0D}" dt="2020-06-11T16:18:27.882" v="4296" actId="14100"/>
        <pc:sldMkLst>
          <pc:docMk/>
          <pc:sldMk cId="981632265" sldId="264"/>
        </pc:sldMkLst>
        <pc:spChg chg="mod">
          <ac:chgData name="Sangeeta Chatterjee" userId="66e5ecfe158147c5" providerId="LiveId" clId="{5D9FE7F9-9D05-49A5-9219-04C795600E0D}" dt="2020-06-11T16:14:37.161" v="4259" actId="20577"/>
          <ac:spMkLst>
            <pc:docMk/>
            <pc:sldMk cId="981632265" sldId="264"/>
            <ac:spMk id="2" creationId="{D17DF9E2-AC84-4ECD-B485-896B8E84EC2B}"/>
          </ac:spMkLst>
        </pc:spChg>
        <pc:spChg chg="del">
          <ac:chgData name="Sangeeta Chatterjee" userId="66e5ecfe158147c5" providerId="LiveId" clId="{5D9FE7F9-9D05-49A5-9219-04C795600E0D}" dt="2020-06-11T15:37:49.114" v="3660" actId="478"/>
          <ac:spMkLst>
            <pc:docMk/>
            <pc:sldMk cId="981632265" sldId="264"/>
            <ac:spMk id="6" creationId="{3A553A4E-4FAD-4A85-9780-9A11A1FFB127}"/>
          </ac:spMkLst>
        </pc:spChg>
        <pc:spChg chg="del mod">
          <ac:chgData name="Sangeeta Chatterjee" userId="66e5ecfe158147c5" providerId="LiveId" clId="{5D9FE7F9-9D05-49A5-9219-04C795600E0D}" dt="2020-06-11T16:18:21.505" v="4295" actId="478"/>
          <ac:spMkLst>
            <pc:docMk/>
            <pc:sldMk cId="981632265" sldId="264"/>
            <ac:spMk id="7" creationId="{587191DE-E361-4EA2-AA5A-6AB3017905C7}"/>
          </ac:spMkLst>
        </pc:spChg>
        <pc:picChg chg="del">
          <ac:chgData name="Sangeeta Chatterjee" userId="66e5ecfe158147c5" providerId="LiveId" clId="{5D9FE7F9-9D05-49A5-9219-04C795600E0D}" dt="2020-06-11T15:31:38.956" v="3649" actId="478"/>
          <ac:picMkLst>
            <pc:docMk/>
            <pc:sldMk cId="981632265" sldId="264"/>
            <ac:picMk id="3" creationId="{15096B72-D58A-4606-BB3C-AEBC25C8F4C1}"/>
          </ac:picMkLst>
        </pc:picChg>
        <pc:picChg chg="add del mod">
          <ac:chgData name="Sangeeta Chatterjee" userId="66e5ecfe158147c5" providerId="LiveId" clId="{5D9FE7F9-9D05-49A5-9219-04C795600E0D}" dt="2020-06-11T16:17:59.253" v="4290" actId="21"/>
          <ac:picMkLst>
            <pc:docMk/>
            <pc:sldMk cId="981632265" sldId="264"/>
            <ac:picMk id="5" creationId="{BE3B7114-D71A-4542-929C-3A791FC47AA2}"/>
          </ac:picMkLst>
        </pc:picChg>
        <pc:picChg chg="add del mod">
          <ac:chgData name="Sangeeta Chatterjee" userId="66e5ecfe158147c5" providerId="LiveId" clId="{5D9FE7F9-9D05-49A5-9219-04C795600E0D}" dt="2020-06-11T16:18:14.246" v="4293" actId="21"/>
          <ac:picMkLst>
            <pc:docMk/>
            <pc:sldMk cId="981632265" sldId="264"/>
            <ac:picMk id="9" creationId="{30429357-ED6F-44B7-A959-A69FE45C295F}"/>
          </ac:picMkLst>
        </pc:picChg>
        <pc:picChg chg="add mod">
          <ac:chgData name="Sangeeta Chatterjee" userId="66e5ecfe158147c5" providerId="LiveId" clId="{5D9FE7F9-9D05-49A5-9219-04C795600E0D}" dt="2020-06-11T16:18:27.882" v="4296" actId="14100"/>
          <ac:picMkLst>
            <pc:docMk/>
            <pc:sldMk cId="981632265" sldId="264"/>
            <ac:picMk id="11" creationId="{ECC431B8-3B6E-4B7E-AD87-79C9D4297E55}"/>
          </ac:picMkLst>
        </pc:picChg>
      </pc:sldChg>
      <pc:sldChg chg="addSp delSp modSp mod">
        <pc:chgData name="Sangeeta Chatterjee" userId="66e5ecfe158147c5" providerId="LiveId" clId="{5D9FE7F9-9D05-49A5-9219-04C795600E0D}" dt="2020-06-11T16:22:52.569" v="4524" actId="20577"/>
        <pc:sldMkLst>
          <pc:docMk/>
          <pc:sldMk cId="2799910125" sldId="265"/>
        </pc:sldMkLst>
        <pc:spChg chg="mod">
          <ac:chgData name="Sangeeta Chatterjee" userId="66e5ecfe158147c5" providerId="LiveId" clId="{5D9FE7F9-9D05-49A5-9219-04C795600E0D}" dt="2020-06-11T16:22:52.569" v="4524" actId="20577"/>
          <ac:spMkLst>
            <pc:docMk/>
            <pc:sldMk cId="2799910125" sldId="265"/>
            <ac:spMk id="2" creationId="{B4A31A72-6BB1-4A37-AC99-F2022B721642}"/>
          </ac:spMkLst>
        </pc:spChg>
        <pc:spChg chg="del">
          <ac:chgData name="Sangeeta Chatterjee" userId="66e5ecfe158147c5" providerId="LiveId" clId="{5D9FE7F9-9D05-49A5-9219-04C795600E0D}" dt="2020-06-11T15:41:33.533" v="3703" actId="478"/>
          <ac:spMkLst>
            <pc:docMk/>
            <pc:sldMk cId="2799910125" sldId="265"/>
            <ac:spMk id="5" creationId="{49D608A5-922A-4742-99A9-D9BA2BDCBE95}"/>
          </ac:spMkLst>
        </pc:spChg>
        <pc:spChg chg="del">
          <ac:chgData name="Sangeeta Chatterjee" userId="66e5ecfe158147c5" providerId="LiveId" clId="{5D9FE7F9-9D05-49A5-9219-04C795600E0D}" dt="2020-06-11T15:41:28.554" v="3702" actId="478"/>
          <ac:spMkLst>
            <pc:docMk/>
            <pc:sldMk cId="2799910125" sldId="265"/>
            <ac:spMk id="6" creationId="{9541D3AF-979B-4D2E-9B0B-E7B1D271D579}"/>
          </ac:spMkLst>
        </pc:spChg>
        <pc:picChg chg="del">
          <ac:chgData name="Sangeeta Chatterjee" userId="66e5ecfe158147c5" providerId="LiveId" clId="{5D9FE7F9-9D05-49A5-9219-04C795600E0D}" dt="2020-06-11T15:41:21.954" v="3700" actId="478"/>
          <ac:picMkLst>
            <pc:docMk/>
            <pc:sldMk cId="2799910125" sldId="265"/>
            <ac:picMk id="3" creationId="{A0690B30-A717-4A3F-B4CA-925C2B7AEA69}"/>
          </ac:picMkLst>
        </pc:picChg>
        <pc:picChg chg="del">
          <ac:chgData name="Sangeeta Chatterjee" userId="66e5ecfe158147c5" providerId="LiveId" clId="{5D9FE7F9-9D05-49A5-9219-04C795600E0D}" dt="2020-06-11T15:41:24.167" v="3701" actId="478"/>
          <ac:picMkLst>
            <pc:docMk/>
            <pc:sldMk cId="2799910125" sldId="265"/>
            <ac:picMk id="4" creationId="{6852B407-2D65-4AA1-9583-71F1D7E65C2F}"/>
          </ac:picMkLst>
        </pc:picChg>
        <pc:picChg chg="add del mod">
          <ac:chgData name="Sangeeta Chatterjee" userId="66e5ecfe158147c5" providerId="LiveId" clId="{5D9FE7F9-9D05-49A5-9219-04C795600E0D}" dt="2020-06-11T16:17:50.602" v="4288" actId="478"/>
          <ac:picMkLst>
            <pc:docMk/>
            <pc:sldMk cId="2799910125" sldId="265"/>
            <ac:picMk id="8" creationId="{0B8BEDA3-68D5-4EFE-88AF-C502E4CC370E}"/>
          </ac:picMkLst>
        </pc:picChg>
        <pc:picChg chg="add del mod">
          <ac:chgData name="Sangeeta Chatterjee" userId="66e5ecfe158147c5" providerId="LiveId" clId="{5D9FE7F9-9D05-49A5-9219-04C795600E0D}" dt="2020-06-11T16:17:48.455" v="4287" actId="478"/>
          <ac:picMkLst>
            <pc:docMk/>
            <pc:sldMk cId="2799910125" sldId="265"/>
            <ac:picMk id="10" creationId="{56012937-2A14-40F1-83A6-228E4180B90D}"/>
          </ac:picMkLst>
        </pc:picChg>
        <pc:picChg chg="add del mod">
          <ac:chgData name="Sangeeta Chatterjee" userId="66e5ecfe158147c5" providerId="LiveId" clId="{5D9FE7F9-9D05-49A5-9219-04C795600E0D}" dt="2020-06-11T16:17:46.547" v="4286" actId="478"/>
          <ac:picMkLst>
            <pc:docMk/>
            <pc:sldMk cId="2799910125" sldId="265"/>
            <ac:picMk id="12" creationId="{E7BA9C0C-F3D6-424D-ABBF-42321BBEBCB5}"/>
          </ac:picMkLst>
        </pc:picChg>
        <pc:picChg chg="add del mod">
          <ac:chgData name="Sangeeta Chatterjee" userId="66e5ecfe158147c5" providerId="LiveId" clId="{5D9FE7F9-9D05-49A5-9219-04C795600E0D}" dt="2020-06-11T16:17:42.823" v="4285" actId="478"/>
          <ac:picMkLst>
            <pc:docMk/>
            <pc:sldMk cId="2799910125" sldId="265"/>
            <ac:picMk id="14" creationId="{6F73F0A2-F007-4111-8AF5-4AA731534AEE}"/>
          </ac:picMkLst>
        </pc:picChg>
        <pc:picChg chg="add mod">
          <ac:chgData name="Sangeeta Chatterjee" userId="66e5ecfe158147c5" providerId="LiveId" clId="{5D9FE7F9-9D05-49A5-9219-04C795600E0D}" dt="2020-06-11T16:19:05.417" v="4303" actId="14100"/>
          <ac:picMkLst>
            <pc:docMk/>
            <pc:sldMk cId="2799910125" sldId="265"/>
            <ac:picMk id="15" creationId="{37C216AF-772C-4382-80EB-993FF968B0B8}"/>
          </ac:picMkLst>
        </pc:picChg>
        <pc:picChg chg="add mod">
          <ac:chgData name="Sangeeta Chatterjee" userId="66e5ecfe158147c5" providerId="LiveId" clId="{5D9FE7F9-9D05-49A5-9219-04C795600E0D}" dt="2020-06-11T16:19:10.881" v="4304" actId="14100"/>
          <ac:picMkLst>
            <pc:docMk/>
            <pc:sldMk cId="2799910125" sldId="265"/>
            <ac:picMk id="16" creationId="{A981E595-5CB6-4A71-B0B6-5CF165378B82}"/>
          </ac:picMkLst>
        </pc:picChg>
      </pc:sldChg>
      <pc:sldChg chg="modSp mod">
        <pc:chgData name="Sangeeta Chatterjee" userId="66e5ecfe158147c5" providerId="LiveId" clId="{5D9FE7F9-9D05-49A5-9219-04C795600E0D}" dt="2020-06-11T16:31:04.118" v="5008" actId="313"/>
        <pc:sldMkLst>
          <pc:docMk/>
          <pc:sldMk cId="549835616" sldId="266"/>
        </pc:sldMkLst>
        <pc:spChg chg="mod">
          <ac:chgData name="Sangeeta Chatterjee" userId="66e5ecfe158147c5" providerId="LiveId" clId="{5D9FE7F9-9D05-49A5-9219-04C795600E0D}" dt="2020-06-11T16:31:04.118" v="5008" actId="313"/>
          <ac:spMkLst>
            <pc:docMk/>
            <pc:sldMk cId="549835616" sldId="266"/>
            <ac:spMk id="3" creationId="{638F382B-F10A-4E6D-94EF-ED6E2C31945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dirty="0"/>
              <a:t>`</a:t>
            </a:r>
            <a:endParaRPr dirty="0"/>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6569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3</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6031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a:t>Southern Water Corp – Technical Presentation</a:t>
            </a:r>
            <a:endParaRPr/>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a:t>
            </a:r>
            <a:r>
              <a:rPr lang="en-AU" dirty="0">
                <a:solidFill>
                  <a:schemeClr val="dk1"/>
                </a:solidFill>
              </a:rPr>
              <a:t>05</a:t>
            </a:r>
            <a:r>
              <a:rPr lang="en-AU" sz="1400" b="0" i="0" u="none" strike="noStrike" cap="none" baseline="30000" dirty="0">
                <a:solidFill>
                  <a:schemeClr val="dk1"/>
                </a:solidFill>
                <a:latin typeface="Arial"/>
                <a:ea typeface="Arial"/>
                <a:cs typeface="Arial"/>
                <a:sym typeface="Arial"/>
              </a:rPr>
              <a:t>th</a:t>
            </a:r>
            <a:r>
              <a:rPr lang="en-AU" sz="1400" b="0" i="0" u="none" strike="noStrike" cap="none" dirty="0">
                <a:solidFill>
                  <a:schemeClr val="dk1"/>
                </a:solidFill>
                <a:latin typeface="Arial"/>
                <a:ea typeface="Arial"/>
                <a:cs typeface="Arial"/>
                <a:sym typeface="Arial"/>
              </a:rPr>
              <a:t> April 2020</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Sangeeta Chatterjee</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1" y="159273"/>
            <a:ext cx="8618537" cy="938719"/>
          </a:xfrm>
          <a:prstGeom prst="rect">
            <a:avLst/>
          </a:prstGeom>
          <a:noFill/>
          <a:ln>
            <a:noFill/>
          </a:ln>
        </p:spPr>
        <p:txBody>
          <a:bodyPr spcFirstLastPara="1" wrap="square" lIns="0" tIns="0" rIns="0" bIns="0" anchor="t" anchorCtr="0">
            <a:spAutoFit/>
          </a:bodyPr>
          <a:lstStyle/>
          <a:p>
            <a:pPr lvl="0"/>
            <a:r>
              <a:rPr lang="en-US" sz="1400" dirty="0">
                <a:latin typeface="Batang" panose="02030600000101010101" pitchFamily="18" charset="-127"/>
                <a:ea typeface="Batang" panose="02030600000101010101" pitchFamily="18" charset="-127"/>
                <a:cs typeface="Biome" panose="020B0503030204020804" pitchFamily="34" charset="0"/>
              </a:rPr>
              <a:t>The stock market has shown a huge rise and fall during the months when </a:t>
            </a:r>
            <a:r>
              <a:rPr lang="en-US" sz="1400" dirty="0" err="1">
                <a:latin typeface="Batang" panose="02030600000101010101" pitchFamily="18" charset="-127"/>
                <a:ea typeface="Batang" panose="02030600000101010101" pitchFamily="18" charset="-127"/>
                <a:cs typeface="Biome" panose="020B0503030204020804" pitchFamily="34" charset="0"/>
              </a:rPr>
              <a:t>Covid</a:t>
            </a:r>
            <a:r>
              <a:rPr lang="en-US" sz="1400" dirty="0">
                <a:latin typeface="Batang" panose="02030600000101010101" pitchFamily="18" charset="-127"/>
                <a:ea typeface="Batang" panose="02030600000101010101" pitchFamily="18" charset="-127"/>
                <a:cs typeface="Biome" panose="020B0503030204020804" pitchFamily="34" charset="0"/>
              </a:rPr>
              <a:t> had impacted the country most This analysis of stock’s values for the period between the months of January 2020 and April 2020 is to understand the impact of covid19 on different sectors.</a:t>
            </a:r>
            <a:br>
              <a:rPr lang="en-US" sz="1400" dirty="0">
                <a:solidFill>
                  <a:srgbClr val="000000"/>
                </a:solidFill>
              </a:rPr>
            </a:br>
            <a:endParaRPr dirty="0"/>
          </a:p>
        </p:txBody>
      </p:sp>
      <p:grpSp>
        <p:nvGrpSpPr>
          <p:cNvPr id="49" name="Google Shape;49;p3"/>
          <p:cNvGrpSpPr/>
          <p:nvPr/>
        </p:nvGrpSpPr>
        <p:grpSpPr>
          <a:xfrm>
            <a:off x="695481" y="1384768"/>
            <a:ext cx="7341871" cy="1462345"/>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46344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Covid19 has effected the world too fast and too gravely .	</a:t>
              </a:r>
              <a:endParaRPr dirty="0"/>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27557" y="1838066"/>
              <a:ext cx="3528392" cy="64807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sym typeface="Quattrocento Sans"/>
                </a:rPr>
                <a:t>The pandemic has spread quickly all over the world toppling the normal life as we knew it. People have been infected and died in large numbers.</a:t>
              </a:r>
              <a:endParaRPr dirty="0"/>
            </a:p>
          </p:txBody>
        </p:sp>
      </p:grpSp>
      <p:sp>
        <p:nvSpPr>
          <p:cNvPr id="55" name="Google Shape;55;p3"/>
          <p:cNvSpPr/>
          <p:nvPr/>
        </p:nvSpPr>
        <p:spPr>
          <a:xfrm>
            <a:off x="873978" y="3175260"/>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541317"/>
            <a:ext cx="3457947" cy="4541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Social distancing has impacted a lot of businesses</a:t>
            </a: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703950" y="307845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56128" y="3175260"/>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535167" y="3501878"/>
            <a:ext cx="3457947" cy="99702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sym typeface="Quattrocento Sans"/>
              </a:rPr>
              <a:t>With the need for social distancing to prevent the spread of disease, a lot of businesses have been hugely impacted by </a:t>
            </a:r>
            <a:r>
              <a:rPr lang="en-AU" sz="1176" b="1" dirty="0" err="1">
                <a:solidFill>
                  <a:srgbClr val="002060"/>
                </a:solidFill>
                <a:latin typeface="Quattrocento Sans"/>
                <a:sym typeface="Quattrocento Sans"/>
              </a:rPr>
              <a:t>Covid</a:t>
            </a:r>
            <a:r>
              <a:rPr lang="en-AU" sz="1176" b="1" dirty="0">
                <a:solidFill>
                  <a:srgbClr val="002060"/>
                </a:solidFill>
                <a:latin typeface="Quattrocento Sans"/>
                <a:sym typeface="Quattrocento Sans"/>
              </a:rPr>
              <a:t>. Businesses have closed temporarily and some small businesses even permanently.</a:t>
            </a:r>
            <a:endParaRPr dirty="0"/>
          </a:p>
        </p:txBody>
      </p:sp>
      <p:sp>
        <p:nvSpPr>
          <p:cNvPr id="60" name="Google Shape;60;p3"/>
          <p:cNvSpPr/>
          <p:nvPr/>
        </p:nvSpPr>
        <p:spPr>
          <a:xfrm>
            <a:off x="890961" y="4849573"/>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1" name="Google Shape;61;p3"/>
          <p:cNvSpPr/>
          <p:nvPr/>
        </p:nvSpPr>
        <p:spPr>
          <a:xfrm>
            <a:off x="720933" y="474182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62" name="Google Shape;62;p3"/>
          <p:cNvSpPr/>
          <p:nvPr/>
        </p:nvSpPr>
        <p:spPr>
          <a:xfrm>
            <a:off x="4473111" y="4849573"/>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63" name="Google Shape;63;p3"/>
          <p:cNvSpPr/>
          <p:nvPr/>
        </p:nvSpPr>
        <p:spPr>
          <a:xfrm>
            <a:off x="988787" y="5396610"/>
            <a:ext cx="3457947" cy="4541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err="1">
                <a:solidFill>
                  <a:srgbClr val="002060"/>
                </a:solidFill>
                <a:latin typeface="Quattrocento Sans"/>
                <a:sym typeface="Quattrocento Sans"/>
              </a:rPr>
              <a:t>Covid</a:t>
            </a:r>
            <a:r>
              <a:rPr lang="en-AU" sz="1176" b="1" dirty="0">
                <a:solidFill>
                  <a:srgbClr val="002060"/>
                </a:solidFill>
                <a:latin typeface="Quattrocento Sans"/>
                <a:sym typeface="Quattrocento Sans"/>
              </a:rPr>
              <a:t> has caused an upheaval in the stock market		</a:t>
            </a:r>
            <a:endParaRPr dirty="0"/>
          </a:p>
        </p:txBody>
      </p:sp>
      <p:sp>
        <p:nvSpPr>
          <p:cNvPr id="64" name="Google Shape;64;p3"/>
          <p:cNvSpPr/>
          <p:nvPr/>
        </p:nvSpPr>
        <p:spPr>
          <a:xfrm>
            <a:off x="4547915" y="5157434"/>
            <a:ext cx="3457947" cy="4541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sym typeface="Quattrocento Sans"/>
              </a:rPr>
              <a:t>With the businesses being impacted, the uncertainty is seen in stock market’s </a:t>
            </a:r>
            <a:r>
              <a:rPr lang="en-AU" sz="1176" b="1" dirty="0" err="1">
                <a:solidFill>
                  <a:srgbClr val="002060"/>
                </a:solidFill>
                <a:latin typeface="Quattrocento Sans"/>
                <a:sym typeface="Quattrocento Sans"/>
              </a:rPr>
              <a:t>behavior</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1" y="159273"/>
            <a:ext cx="8618537" cy="430887"/>
          </a:xfrm>
          <a:prstGeom prst="rect">
            <a:avLst/>
          </a:prstGeom>
          <a:noFill/>
          <a:ln>
            <a:noFill/>
          </a:ln>
        </p:spPr>
        <p:txBody>
          <a:bodyPr spcFirstLastPara="1" wrap="square" lIns="0" tIns="0" rIns="0" bIns="0" anchor="t" anchorCtr="0">
            <a:spAutoFit/>
          </a:bodyPr>
          <a:lstStyle/>
          <a:p>
            <a:pPr lvl="0"/>
            <a:r>
              <a:rPr lang="en-US" sz="1400" dirty="0">
                <a:solidFill>
                  <a:srgbClr val="000000"/>
                </a:solidFill>
              </a:rPr>
              <a:t>Understanding the effect of the pandemic on different stocks would enable investors in avoiding the sectors negatively impacted and investing in positively impacted sectors instead</a:t>
            </a:r>
            <a:endParaRPr dirty="0"/>
          </a:p>
        </p:txBody>
      </p:sp>
      <p:grpSp>
        <p:nvGrpSpPr>
          <p:cNvPr id="49" name="Google Shape;49;p3"/>
          <p:cNvGrpSpPr/>
          <p:nvPr/>
        </p:nvGrpSpPr>
        <p:grpSpPr>
          <a:xfrm>
            <a:off x="695481" y="1384768"/>
            <a:ext cx="7341871" cy="1462345"/>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46344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Which months saw the most impact of </a:t>
              </a:r>
              <a:r>
                <a:rPr lang="en-US" sz="1176" b="1" dirty="0" err="1">
                  <a:solidFill>
                    <a:srgbClr val="002060"/>
                  </a:solidFill>
                  <a:latin typeface="Quattrocento Sans"/>
                  <a:ea typeface="Quattrocento Sans"/>
                  <a:cs typeface="Quattrocento Sans"/>
                  <a:sym typeface="Quattrocento Sans"/>
                </a:rPr>
                <a:t>Covid</a:t>
              </a:r>
              <a:r>
                <a:rPr lang="en-US" sz="1176" b="1" dirty="0">
                  <a:solidFill>
                    <a:srgbClr val="002060"/>
                  </a:solidFill>
                  <a:latin typeface="Quattrocento Sans"/>
                  <a:ea typeface="Quattrocento Sans"/>
                  <a:cs typeface="Quattrocento Sans"/>
                  <a:sym typeface="Quattrocento Sans"/>
                </a:rPr>
                <a:t>	</a:t>
              </a:r>
              <a:endParaRPr dirty="0"/>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27557" y="1838066"/>
              <a:ext cx="3528392" cy="46344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sym typeface="Quattrocento Sans"/>
                </a:rPr>
                <a:t>We have data set that shows the effect of </a:t>
              </a:r>
              <a:r>
                <a:rPr lang="en-AU" sz="1176" b="1" dirty="0" err="1">
                  <a:solidFill>
                    <a:srgbClr val="002060"/>
                  </a:solidFill>
                  <a:latin typeface="Quattrocento Sans"/>
                  <a:sym typeface="Quattrocento Sans"/>
                </a:rPr>
                <a:t>covid</a:t>
              </a:r>
              <a:r>
                <a:rPr lang="en-AU" sz="1176" b="1" dirty="0">
                  <a:solidFill>
                    <a:srgbClr val="002060"/>
                  </a:solidFill>
                  <a:latin typeface="Quattrocento Sans"/>
                  <a:sym typeface="Quattrocento Sans"/>
                </a:rPr>
                <a:t> in different months, state wise.</a:t>
              </a:r>
              <a:endParaRPr dirty="0"/>
            </a:p>
          </p:txBody>
        </p:sp>
      </p:grpSp>
      <p:sp>
        <p:nvSpPr>
          <p:cNvPr id="55" name="Google Shape;55;p3"/>
          <p:cNvSpPr/>
          <p:nvPr/>
        </p:nvSpPr>
        <p:spPr>
          <a:xfrm>
            <a:off x="873978" y="3371617"/>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dirty="0">
              <a:solidFill>
                <a:srgbClr val="888C92"/>
              </a:solidFill>
              <a:latin typeface="Arial"/>
              <a:ea typeface="Arial"/>
              <a:cs typeface="Arial"/>
              <a:sym typeface="Arial"/>
            </a:endParaRPr>
          </a:p>
        </p:txBody>
      </p:sp>
      <p:sp>
        <p:nvSpPr>
          <p:cNvPr id="56" name="Google Shape;56;p3"/>
          <p:cNvSpPr/>
          <p:nvPr/>
        </p:nvSpPr>
        <p:spPr>
          <a:xfrm>
            <a:off x="957296" y="3832264"/>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How did the prices and volume rise and fall in these months most effected by </a:t>
            </a:r>
            <a:r>
              <a:rPr lang="en-US" sz="1176" b="1" dirty="0" err="1">
                <a:solidFill>
                  <a:srgbClr val="002060"/>
                </a:solidFill>
                <a:latin typeface="Quattrocento Sans"/>
                <a:ea typeface="Quattrocento Sans"/>
                <a:cs typeface="Quattrocento Sans"/>
                <a:sym typeface="Quattrocento Sans"/>
              </a:rPr>
              <a:t>Covid</a:t>
            </a: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703950" y="3369403"/>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56128" y="3371617"/>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535167" y="3792825"/>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Data shows the HIGH, LOW, OPEN and CLOSE price of each stock, on each day, from January to May 2020</a:t>
            </a:r>
            <a:endParaRPr dirty="0"/>
          </a:p>
        </p:txBody>
      </p:sp>
      <p:sp>
        <p:nvSpPr>
          <p:cNvPr id="14" name="Google Shape;55;p3">
            <a:extLst>
              <a:ext uri="{FF2B5EF4-FFF2-40B4-BE49-F238E27FC236}">
                <a16:creationId xmlns:a16="http://schemas.microsoft.com/office/drawing/2014/main" id="{BFCB806B-3588-434D-AD66-270E7BF71F96}"/>
              </a:ext>
            </a:extLst>
          </p:cNvPr>
          <p:cNvSpPr/>
          <p:nvPr/>
        </p:nvSpPr>
        <p:spPr>
          <a:xfrm>
            <a:off x="900251" y="5125788"/>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dirty="0">
              <a:solidFill>
                <a:srgbClr val="888C92"/>
              </a:solidFill>
              <a:latin typeface="Arial"/>
              <a:ea typeface="Arial"/>
              <a:cs typeface="Arial"/>
              <a:sym typeface="Arial"/>
            </a:endParaRPr>
          </a:p>
        </p:txBody>
      </p:sp>
      <p:sp>
        <p:nvSpPr>
          <p:cNvPr id="15" name="Google Shape;58;p3">
            <a:extLst>
              <a:ext uri="{FF2B5EF4-FFF2-40B4-BE49-F238E27FC236}">
                <a16:creationId xmlns:a16="http://schemas.microsoft.com/office/drawing/2014/main" id="{E3D8E598-0986-4EBD-B810-1B4074C79BF8}"/>
              </a:ext>
            </a:extLst>
          </p:cNvPr>
          <p:cNvSpPr/>
          <p:nvPr/>
        </p:nvSpPr>
        <p:spPr>
          <a:xfrm>
            <a:off x="4480719" y="5125788"/>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dirty="0">
              <a:solidFill>
                <a:schemeClr val="lt1"/>
              </a:solidFill>
              <a:latin typeface="Arial"/>
              <a:ea typeface="Arial"/>
              <a:cs typeface="Arial"/>
              <a:sym typeface="Arial"/>
            </a:endParaRPr>
          </a:p>
        </p:txBody>
      </p:sp>
      <p:sp>
        <p:nvSpPr>
          <p:cNvPr id="16" name="Google Shape;56;p3">
            <a:extLst>
              <a:ext uri="{FF2B5EF4-FFF2-40B4-BE49-F238E27FC236}">
                <a16:creationId xmlns:a16="http://schemas.microsoft.com/office/drawing/2014/main" id="{C501D82A-90F9-4119-9551-7043C3C7F080}"/>
              </a:ext>
            </a:extLst>
          </p:cNvPr>
          <p:cNvSpPr/>
          <p:nvPr/>
        </p:nvSpPr>
        <p:spPr>
          <a:xfrm>
            <a:off x="920511" y="5554908"/>
            <a:ext cx="3457947" cy="4541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Compare with previous trend</a:t>
            </a: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17" name="Google Shape;56;p3">
            <a:extLst>
              <a:ext uri="{FF2B5EF4-FFF2-40B4-BE49-F238E27FC236}">
                <a16:creationId xmlns:a16="http://schemas.microsoft.com/office/drawing/2014/main" id="{F15D1729-CE82-48E2-B3A5-83553779028A}"/>
              </a:ext>
            </a:extLst>
          </p:cNvPr>
          <p:cNvSpPr/>
          <p:nvPr/>
        </p:nvSpPr>
        <p:spPr>
          <a:xfrm>
            <a:off x="4434117" y="5600106"/>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Compare the behavior of stock performance of 2020 with last 3 years to identify any distinct change</a:t>
            </a: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3305604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71451" y="230188"/>
            <a:ext cx="8618537" cy="430887"/>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400" dirty="0"/>
              <a:t>There had been a large volume of stocks traded in March of 2020. This deviation can be further studied by doing statistical analysis of the behaviour of past data.</a:t>
            </a:r>
            <a:endParaRPr sz="1400" dirty="0"/>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a:solidFill>
                  <a:schemeClr val="dk1"/>
                </a:solidFill>
                <a:latin typeface="Arial"/>
                <a:ea typeface="Arial"/>
                <a:cs typeface="Arial"/>
                <a:sym typeface="Arial"/>
              </a:rPr>
              <a:t>Source: </a:t>
            </a:r>
            <a:r>
              <a:rPr lang="en-AU" sz="800" b="0" i="0" u="none" strike="noStrike" cap="none">
                <a:solidFill>
                  <a:schemeClr val="dk1"/>
                </a:solidFill>
                <a:latin typeface="Arial"/>
                <a:ea typeface="Arial"/>
                <a:cs typeface="Arial"/>
                <a:sym typeface="Arial"/>
              </a:rPr>
              <a:t>Southern Water Corp Statistical Records</a:t>
            </a:r>
            <a:endParaRPr/>
          </a:p>
        </p:txBody>
      </p:sp>
      <p:cxnSp>
        <p:nvCxnSpPr>
          <p:cNvPr id="80" name="Google Shape;80;p2"/>
          <p:cNvCxnSpPr>
            <a:cxnSpLocks/>
          </p:cNvCxnSpPr>
          <p:nvPr/>
        </p:nvCxnSpPr>
        <p:spPr>
          <a:xfrm rot="5400000">
            <a:off x="6586814" y="4956267"/>
            <a:ext cx="111300" cy="599700"/>
          </a:xfrm>
          <a:prstGeom prst="bentConnector3">
            <a:avLst>
              <a:gd name="adj1" fmla="val 50010"/>
            </a:avLst>
          </a:prstGeom>
          <a:noFill/>
          <a:ln w="12700" cap="flat" cmpd="sng">
            <a:solidFill>
              <a:schemeClr val="lt1"/>
            </a:solidFill>
            <a:prstDash val="solid"/>
            <a:miter lim="800000"/>
            <a:headEnd type="none" w="med" len="med"/>
            <a:tailEnd type="none" w="med" len="med"/>
          </a:ln>
        </p:spPr>
      </p:cxnSp>
      <p:cxnSp>
        <p:nvCxnSpPr>
          <p:cNvPr id="81" name="Google Shape;81;p2"/>
          <p:cNvCxnSpPr>
            <a:cxnSpLocks/>
          </p:cNvCxnSpPr>
          <p:nvPr/>
        </p:nvCxnSpPr>
        <p:spPr>
          <a:xfrm rot="-5400000" flipH="1">
            <a:off x="7185764" y="4957017"/>
            <a:ext cx="111300" cy="598200"/>
          </a:xfrm>
          <a:prstGeom prst="bentConnector3">
            <a:avLst>
              <a:gd name="adj1" fmla="val 50009"/>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6941414" y="5200467"/>
            <a:ext cx="900" cy="111300"/>
          </a:xfrm>
          <a:prstGeom prst="straightConnector1">
            <a:avLst/>
          </a:prstGeom>
          <a:noFill/>
          <a:ln w="12700" cap="flat" cmpd="sng">
            <a:solidFill>
              <a:schemeClr val="lt1"/>
            </a:solidFill>
            <a:prstDash val="solid"/>
            <a:round/>
            <a:headEnd type="none" w="sm" len="sm"/>
            <a:tailEnd type="none" w="sm" len="sm"/>
          </a:ln>
        </p:spPr>
      </p:cxnSp>
      <p:sp>
        <p:nvSpPr>
          <p:cNvPr id="29" name="Google Shape;64;p2">
            <a:extLst>
              <a:ext uri="{FF2B5EF4-FFF2-40B4-BE49-F238E27FC236}">
                <a16:creationId xmlns:a16="http://schemas.microsoft.com/office/drawing/2014/main" id="{92FBE7FC-3C37-46EB-908B-DBBC94011C5A}"/>
              </a:ext>
            </a:extLst>
          </p:cNvPr>
          <p:cNvSpPr txBox="1"/>
          <p:nvPr/>
        </p:nvSpPr>
        <p:spPr>
          <a:xfrm>
            <a:off x="444937" y="5965152"/>
            <a:ext cx="7837084" cy="400069"/>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lvl="0" indent="-228600">
              <a:buClr>
                <a:schemeClr val="dk1"/>
              </a:buClr>
              <a:buSzPts val="1000"/>
              <a:buFont typeface="Arial"/>
              <a:buAutoNum type="arabicParenR"/>
            </a:pPr>
            <a:r>
              <a:rPr lang="en-US" sz="1000" b="1" i="0" u="none" strike="noStrike" cap="none" dirty="0" err="1">
                <a:solidFill>
                  <a:schemeClr val="dk1"/>
                </a:solidFill>
                <a:latin typeface="Arial"/>
                <a:ea typeface="Arial"/>
                <a:cs typeface="Arial"/>
                <a:sym typeface="Arial"/>
              </a:rPr>
              <a:t>Vlalue</a:t>
            </a:r>
            <a:r>
              <a:rPr lang="en-US" sz="1000" b="1" i="0" u="none" strike="noStrike" cap="none" dirty="0">
                <a:solidFill>
                  <a:schemeClr val="dk1"/>
                </a:solidFill>
                <a:latin typeface="Arial"/>
                <a:ea typeface="Arial"/>
                <a:cs typeface="Arial"/>
                <a:sym typeface="Arial"/>
              </a:rPr>
              <a:t> of S&amp;P500 reached its lowest on March 23</a:t>
            </a:r>
            <a:r>
              <a:rPr lang="en-US" sz="1000" b="1" i="0" u="none" strike="noStrike" cap="none" baseline="30000" dirty="0">
                <a:solidFill>
                  <a:schemeClr val="dk1"/>
                </a:solidFill>
                <a:latin typeface="Arial"/>
                <a:ea typeface="Arial"/>
                <a:cs typeface="Arial"/>
                <a:sym typeface="Arial"/>
              </a:rPr>
              <a:t>rd</a:t>
            </a:r>
            <a:r>
              <a:rPr lang="en-US" sz="1000" b="1" i="0" u="none" strike="noStrike" cap="none" dirty="0">
                <a:solidFill>
                  <a:schemeClr val="dk1"/>
                </a:solidFill>
                <a:latin typeface="Arial"/>
                <a:ea typeface="Arial"/>
                <a:cs typeface="Arial"/>
                <a:sym typeface="Arial"/>
              </a:rPr>
              <a:t> due to Covid19 uncertainty which could have led to panic trading. </a:t>
            </a:r>
            <a:endParaRPr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sp>
        <p:nvSpPr>
          <p:cNvPr id="30" name="Google Shape;66;p2">
            <a:extLst>
              <a:ext uri="{FF2B5EF4-FFF2-40B4-BE49-F238E27FC236}">
                <a16:creationId xmlns:a16="http://schemas.microsoft.com/office/drawing/2014/main" id="{1EB68860-B80F-46C7-B962-03DEAE6D6400}"/>
              </a:ext>
            </a:extLst>
          </p:cNvPr>
          <p:cNvSpPr/>
          <p:nvPr/>
        </p:nvSpPr>
        <p:spPr>
          <a:xfrm>
            <a:off x="444936" y="5747980"/>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pic>
        <p:nvPicPr>
          <p:cNvPr id="10" name="slide4" descr="Volume">
            <a:extLst>
              <a:ext uri="{FF2B5EF4-FFF2-40B4-BE49-F238E27FC236}">
                <a16:creationId xmlns:a16="http://schemas.microsoft.com/office/drawing/2014/main" id="{C666076D-4783-4726-ABE6-3A8FC317AC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953" y="1031869"/>
            <a:ext cx="8535484" cy="3986344"/>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230188"/>
            <a:ext cx="8618537" cy="369332"/>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sz="1200" dirty="0"/>
              <a:t>Analysis by doing a time plot of the HIGH, LOW, OPEN and CLOSE costs for last 3 years shows few stocks going up in price while mostly showing a fall in price</a:t>
            </a:r>
            <a:endParaRPr sz="1200"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pic>
        <p:nvPicPr>
          <p:cNvPr id="3" name="Picture 2" descr="A close up of a piece of paper&#10;&#10;Description automatically generated">
            <a:extLst>
              <a:ext uri="{FF2B5EF4-FFF2-40B4-BE49-F238E27FC236}">
                <a16:creationId xmlns:a16="http://schemas.microsoft.com/office/drawing/2014/main" id="{4BAD3363-95A7-4F89-9AE6-8F506454C2B1}"/>
              </a:ext>
            </a:extLst>
          </p:cNvPr>
          <p:cNvPicPr>
            <a:picLocks noChangeAspect="1"/>
          </p:cNvPicPr>
          <p:nvPr/>
        </p:nvPicPr>
        <p:blipFill>
          <a:blip r:embed="rId3"/>
          <a:stretch>
            <a:fillRect/>
          </a:stretch>
        </p:blipFill>
        <p:spPr>
          <a:xfrm>
            <a:off x="-6306" y="3644988"/>
            <a:ext cx="4497030" cy="2440546"/>
          </a:xfrm>
          <a:prstGeom prst="rect">
            <a:avLst/>
          </a:prstGeom>
        </p:spPr>
      </p:pic>
      <p:pic>
        <p:nvPicPr>
          <p:cNvPr id="5" name="Picture 4" descr="A close up of a piece of paper&#10;&#10;Description automatically generated">
            <a:extLst>
              <a:ext uri="{FF2B5EF4-FFF2-40B4-BE49-F238E27FC236}">
                <a16:creationId xmlns:a16="http://schemas.microsoft.com/office/drawing/2014/main" id="{E2AF696A-7D31-4EBE-AEFB-E406D9FA29CB}"/>
              </a:ext>
            </a:extLst>
          </p:cNvPr>
          <p:cNvPicPr>
            <a:picLocks noChangeAspect="1"/>
          </p:cNvPicPr>
          <p:nvPr/>
        </p:nvPicPr>
        <p:blipFill>
          <a:blip r:embed="rId4"/>
          <a:stretch>
            <a:fillRect/>
          </a:stretch>
        </p:blipFill>
        <p:spPr>
          <a:xfrm>
            <a:off x="4490725" y="965523"/>
            <a:ext cx="4470713" cy="2679465"/>
          </a:xfrm>
          <a:prstGeom prst="rect">
            <a:avLst/>
          </a:prstGeom>
        </p:spPr>
      </p:pic>
      <p:pic>
        <p:nvPicPr>
          <p:cNvPr id="8" name="Picture 7" descr="A close up of a piece of paper&#10;&#10;Description automatically generated">
            <a:extLst>
              <a:ext uri="{FF2B5EF4-FFF2-40B4-BE49-F238E27FC236}">
                <a16:creationId xmlns:a16="http://schemas.microsoft.com/office/drawing/2014/main" id="{D873EF2A-D720-4E8C-ACA1-3BAB6DE1FF00}"/>
              </a:ext>
            </a:extLst>
          </p:cNvPr>
          <p:cNvPicPr>
            <a:picLocks noChangeAspect="1"/>
          </p:cNvPicPr>
          <p:nvPr/>
        </p:nvPicPr>
        <p:blipFill>
          <a:blip r:embed="rId5"/>
          <a:stretch>
            <a:fillRect/>
          </a:stretch>
        </p:blipFill>
        <p:spPr>
          <a:xfrm>
            <a:off x="-6306" y="965523"/>
            <a:ext cx="4541847" cy="2679465"/>
          </a:xfrm>
          <a:prstGeom prst="rect">
            <a:avLst/>
          </a:prstGeom>
        </p:spPr>
      </p:pic>
      <p:pic>
        <p:nvPicPr>
          <p:cNvPr id="11" name="Picture 10" descr="A close up of a piece of paper&#10;&#10;Description automatically generated">
            <a:extLst>
              <a:ext uri="{FF2B5EF4-FFF2-40B4-BE49-F238E27FC236}">
                <a16:creationId xmlns:a16="http://schemas.microsoft.com/office/drawing/2014/main" id="{D7867AEB-9AE4-4923-AFB5-C992BA4C9561}"/>
              </a:ext>
            </a:extLst>
          </p:cNvPr>
          <p:cNvPicPr>
            <a:picLocks noChangeAspect="1"/>
          </p:cNvPicPr>
          <p:nvPr/>
        </p:nvPicPr>
        <p:blipFill>
          <a:blip r:embed="rId6"/>
          <a:stretch>
            <a:fillRect/>
          </a:stretch>
        </p:blipFill>
        <p:spPr>
          <a:xfrm>
            <a:off x="4490725" y="3644988"/>
            <a:ext cx="4470712" cy="2440546"/>
          </a:xfrm>
          <a:prstGeom prst="rect">
            <a:avLst/>
          </a:prstGeom>
        </p:spPr>
      </p:pic>
    </p:spTree>
    <p:extLst>
      <p:ext uri="{BB962C8B-B14F-4D97-AF65-F5344CB8AC3E}">
        <p14:creationId xmlns:p14="http://schemas.microsoft.com/office/powerpoint/2010/main" val="854780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192351"/>
            <a:ext cx="8618537" cy="369332"/>
          </a:xfrm>
          <a:prstGeom prst="rect">
            <a:avLst/>
          </a:prstGeom>
          <a:noFill/>
          <a:ln>
            <a:noFill/>
          </a:ln>
        </p:spPr>
        <p:txBody>
          <a:bodyPr spcFirstLastPara="1" wrap="square" lIns="0" tIns="0" rIns="0" bIns="0" anchor="t" anchorCtr="0">
            <a:spAutoFit/>
          </a:bodyPr>
          <a:lstStyle/>
          <a:p>
            <a:pPr lvl="0">
              <a:buClr>
                <a:schemeClr val="dk1"/>
              </a:buClr>
              <a:buSzPts val="1000"/>
            </a:pPr>
            <a:r>
              <a:rPr lang="en-US" sz="1200" dirty="0"/>
              <a:t>Further analysis of HIGH and LOW values of stocks from different sectors shows few stocks, like those from Technology going up while most of other belonging to entertainment, travel and hospitality has gone down in March</a:t>
            </a:r>
            <a:endParaRPr sz="1200"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 name="Google Shape;66;p2">
            <a:extLst>
              <a:ext uri="{FF2B5EF4-FFF2-40B4-BE49-F238E27FC236}">
                <a16:creationId xmlns:a16="http://schemas.microsoft.com/office/drawing/2014/main" id="{1D3EFC48-01EA-4DD0-B395-8745DA16B566}"/>
              </a:ext>
            </a:extLst>
          </p:cNvPr>
          <p:cNvSpPr/>
          <p:nvPr/>
        </p:nvSpPr>
        <p:spPr>
          <a:xfrm>
            <a:off x="444936" y="5780268"/>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pic>
        <p:nvPicPr>
          <p:cNvPr id="9" name="slide2" descr="Entert_High_Low">
            <a:extLst>
              <a:ext uri="{FF2B5EF4-FFF2-40B4-BE49-F238E27FC236}">
                <a16:creationId xmlns:a16="http://schemas.microsoft.com/office/drawing/2014/main" id="{FDE94B20-28A9-4002-AABD-BA457F0506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765" y="1021609"/>
            <a:ext cx="4959631" cy="2797804"/>
          </a:xfrm>
          <a:prstGeom prst="rect">
            <a:avLst/>
          </a:prstGeom>
        </p:spPr>
      </p:pic>
      <p:pic>
        <p:nvPicPr>
          <p:cNvPr id="10" name="slide3" descr="TechG_High_Low ">
            <a:extLst>
              <a:ext uri="{FF2B5EF4-FFF2-40B4-BE49-F238E27FC236}">
                <a16:creationId xmlns:a16="http://schemas.microsoft.com/office/drawing/2014/main" id="{9B9E8095-F9B8-4D06-8429-5A84CF4A20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700" y="3960308"/>
            <a:ext cx="5174088" cy="2333284"/>
          </a:xfrm>
          <a:prstGeom prst="rect">
            <a:avLst/>
          </a:prstGeom>
        </p:spPr>
      </p:pic>
      <p:pic>
        <p:nvPicPr>
          <p:cNvPr id="12" name="slide5" descr="RisingHigh">
            <a:extLst>
              <a:ext uri="{FF2B5EF4-FFF2-40B4-BE49-F238E27FC236}">
                <a16:creationId xmlns:a16="http://schemas.microsoft.com/office/drawing/2014/main" id="{F62EB8C9-41EE-4DA3-9931-727B34833B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23085" y="1059343"/>
            <a:ext cx="3766904" cy="2617176"/>
          </a:xfrm>
          <a:prstGeom prst="rect">
            <a:avLst/>
          </a:prstGeom>
        </p:spPr>
      </p:pic>
      <p:sp>
        <p:nvSpPr>
          <p:cNvPr id="13" name="Google Shape;64;p2">
            <a:extLst>
              <a:ext uri="{FF2B5EF4-FFF2-40B4-BE49-F238E27FC236}">
                <a16:creationId xmlns:a16="http://schemas.microsoft.com/office/drawing/2014/main" id="{25C8698E-B999-4BD6-8018-17A1314B7DB3}"/>
              </a:ext>
            </a:extLst>
          </p:cNvPr>
          <p:cNvSpPr txBox="1"/>
          <p:nvPr/>
        </p:nvSpPr>
        <p:spPr>
          <a:xfrm>
            <a:off x="5389002" y="4199416"/>
            <a:ext cx="3400985" cy="1169511"/>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lvl="0" indent="-228600">
              <a:buClr>
                <a:schemeClr val="dk1"/>
              </a:buClr>
              <a:buSzPts val="1000"/>
              <a:buFont typeface="Arial"/>
              <a:buAutoNum type="arabicParenR"/>
            </a:pPr>
            <a:r>
              <a:rPr lang="en-US" sz="1000" b="1" i="0" u="none" strike="noStrike" cap="none" dirty="0" err="1">
                <a:solidFill>
                  <a:schemeClr val="dk1"/>
                </a:solidFill>
                <a:latin typeface="Arial"/>
                <a:ea typeface="Arial"/>
                <a:cs typeface="Arial"/>
                <a:sym typeface="Arial"/>
              </a:rPr>
              <a:t>Covid</a:t>
            </a:r>
            <a:r>
              <a:rPr lang="en-US" sz="1000" b="1" i="0" u="none" strike="noStrike" cap="none" dirty="0">
                <a:solidFill>
                  <a:schemeClr val="dk1"/>
                </a:solidFill>
                <a:latin typeface="Arial"/>
                <a:ea typeface="Arial"/>
                <a:cs typeface="Arial"/>
                <a:sym typeface="Arial"/>
              </a:rPr>
              <a:t> numbers started flaring most in March and with social distancing in place most sectors had a loss resulting in fall of stock value.</a:t>
            </a:r>
          </a:p>
          <a:p>
            <a:pPr marL="228600" lvl="0" indent="-228600">
              <a:buClr>
                <a:schemeClr val="dk1"/>
              </a:buClr>
              <a:buSzPts val="1000"/>
              <a:buFont typeface="Arial"/>
              <a:buAutoNum type="arabicParenR"/>
            </a:pPr>
            <a:r>
              <a:rPr lang="en-US" sz="1000" b="1" dirty="0">
                <a:solidFill>
                  <a:schemeClr val="dk1"/>
                </a:solidFill>
              </a:rPr>
              <a:t>Demands for certain sectors like home delivery and online communication increased causing there stock value to increase</a:t>
            </a:r>
            <a:endParaRPr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sp>
        <p:nvSpPr>
          <p:cNvPr id="14" name="Google Shape;66;p2">
            <a:extLst>
              <a:ext uri="{FF2B5EF4-FFF2-40B4-BE49-F238E27FC236}">
                <a16:creationId xmlns:a16="http://schemas.microsoft.com/office/drawing/2014/main" id="{041ED4FA-FB74-4158-8F2C-7A65C921819D}"/>
              </a:ext>
            </a:extLst>
          </p:cNvPr>
          <p:cNvSpPr/>
          <p:nvPr/>
        </p:nvSpPr>
        <p:spPr>
          <a:xfrm>
            <a:off x="5389003" y="3960308"/>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DF9E2-AC84-4ECD-B485-896B8E84EC2B}"/>
              </a:ext>
            </a:extLst>
          </p:cNvPr>
          <p:cNvSpPr>
            <a:spLocks noGrp="1"/>
          </p:cNvSpPr>
          <p:nvPr>
            <p:ph type="title"/>
          </p:nvPr>
        </p:nvSpPr>
        <p:spPr>
          <a:xfrm>
            <a:off x="171451" y="230188"/>
            <a:ext cx="8618537" cy="369332"/>
          </a:xfrm>
        </p:spPr>
        <p:txBody>
          <a:bodyPr/>
          <a:lstStyle/>
          <a:p>
            <a:r>
              <a:rPr lang="en-US" sz="1200" dirty="0"/>
              <a:t>Box-plot Analysis of the stocks shows lots of outliers present for volume, specially in Airlines industries followed by tech and retail. Outliers are present in high and low values of prices of stocks present in travel , tech and retail.</a:t>
            </a:r>
          </a:p>
        </p:txBody>
      </p:sp>
      <p:pic>
        <p:nvPicPr>
          <p:cNvPr id="11" name="Picture 10" descr="A large ship in the background&#10;&#10;Description automatically generated">
            <a:extLst>
              <a:ext uri="{FF2B5EF4-FFF2-40B4-BE49-F238E27FC236}">
                <a16:creationId xmlns:a16="http://schemas.microsoft.com/office/drawing/2014/main" id="{ECC431B8-3B6E-4B7E-AD87-79C9D4297E55}"/>
              </a:ext>
            </a:extLst>
          </p:cNvPr>
          <p:cNvPicPr>
            <a:picLocks noChangeAspect="1"/>
          </p:cNvPicPr>
          <p:nvPr/>
        </p:nvPicPr>
        <p:blipFill>
          <a:blip r:embed="rId2"/>
          <a:stretch>
            <a:fillRect/>
          </a:stretch>
        </p:blipFill>
        <p:spPr>
          <a:xfrm>
            <a:off x="88286" y="1089320"/>
            <a:ext cx="8755911" cy="4460141"/>
          </a:xfrm>
          <a:prstGeom prst="rect">
            <a:avLst/>
          </a:prstGeom>
        </p:spPr>
      </p:pic>
    </p:spTree>
    <p:extLst>
      <p:ext uri="{BB962C8B-B14F-4D97-AF65-F5344CB8AC3E}">
        <p14:creationId xmlns:p14="http://schemas.microsoft.com/office/powerpoint/2010/main" val="981632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31A72-6BB1-4A37-AC99-F2022B721642}"/>
              </a:ext>
            </a:extLst>
          </p:cNvPr>
          <p:cNvSpPr>
            <a:spLocks noGrp="1"/>
          </p:cNvSpPr>
          <p:nvPr>
            <p:ph type="title"/>
          </p:nvPr>
        </p:nvSpPr>
        <p:spPr>
          <a:xfrm>
            <a:off x="171451" y="230188"/>
            <a:ext cx="8618537" cy="369332"/>
          </a:xfrm>
        </p:spPr>
        <p:txBody>
          <a:bodyPr/>
          <a:lstStyle/>
          <a:p>
            <a:r>
              <a:rPr lang="en-US" sz="1200" dirty="0"/>
              <a:t>Boxplot analysis shows outliers present for high and low values for most negatively impacted industries( Airlines, retail) to most positively impacted industries (ZM. Slack) .</a:t>
            </a:r>
          </a:p>
        </p:txBody>
      </p:sp>
      <p:pic>
        <p:nvPicPr>
          <p:cNvPr id="15" name="Picture 14" descr="A screenshot of a video game&#10;&#10;Description automatically generated">
            <a:extLst>
              <a:ext uri="{FF2B5EF4-FFF2-40B4-BE49-F238E27FC236}">
                <a16:creationId xmlns:a16="http://schemas.microsoft.com/office/drawing/2014/main" id="{37C216AF-772C-4382-80EB-993FF968B0B8}"/>
              </a:ext>
            </a:extLst>
          </p:cNvPr>
          <p:cNvPicPr>
            <a:picLocks noChangeAspect="1"/>
          </p:cNvPicPr>
          <p:nvPr/>
        </p:nvPicPr>
        <p:blipFill>
          <a:blip r:embed="rId2"/>
          <a:stretch>
            <a:fillRect/>
          </a:stretch>
        </p:blipFill>
        <p:spPr>
          <a:xfrm>
            <a:off x="444935" y="1040525"/>
            <a:ext cx="8005381" cy="2787344"/>
          </a:xfrm>
          <a:prstGeom prst="rect">
            <a:avLst/>
          </a:prstGeom>
        </p:spPr>
      </p:pic>
      <p:pic>
        <p:nvPicPr>
          <p:cNvPr id="16" name="Picture 15" descr="A screenshot of a video game&#10;&#10;Description automatically generated">
            <a:extLst>
              <a:ext uri="{FF2B5EF4-FFF2-40B4-BE49-F238E27FC236}">
                <a16:creationId xmlns:a16="http://schemas.microsoft.com/office/drawing/2014/main" id="{A981E595-5CB6-4A71-B0B6-5CF165378B82}"/>
              </a:ext>
            </a:extLst>
          </p:cNvPr>
          <p:cNvPicPr>
            <a:picLocks noChangeAspect="1"/>
          </p:cNvPicPr>
          <p:nvPr/>
        </p:nvPicPr>
        <p:blipFill>
          <a:blip r:embed="rId3"/>
          <a:stretch>
            <a:fillRect/>
          </a:stretch>
        </p:blipFill>
        <p:spPr>
          <a:xfrm>
            <a:off x="444935" y="4080116"/>
            <a:ext cx="8345053" cy="2139300"/>
          </a:xfrm>
          <a:prstGeom prst="rect">
            <a:avLst/>
          </a:prstGeom>
        </p:spPr>
      </p:pic>
    </p:spTree>
    <p:extLst>
      <p:ext uri="{BB962C8B-B14F-4D97-AF65-F5344CB8AC3E}">
        <p14:creationId xmlns:p14="http://schemas.microsoft.com/office/powerpoint/2010/main" val="27999101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7AF38-C0FE-47EA-BE81-0FF4069BF49B}"/>
              </a:ext>
            </a:extLst>
          </p:cNvPr>
          <p:cNvSpPr>
            <a:spLocks noGrp="1"/>
          </p:cNvSpPr>
          <p:nvPr>
            <p:ph type="title"/>
          </p:nvPr>
        </p:nvSpPr>
        <p:spPr/>
        <p:txBody>
          <a:bodyPr/>
          <a:lstStyle/>
          <a:p>
            <a:r>
              <a:rPr lang="en-US" i="1" dirty="0">
                <a:solidFill>
                  <a:schemeClr val="accent2">
                    <a:lumMod val="75000"/>
                  </a:schemeClr>
                </a:solidFill>
              </a:rPr>
              <a:t>In Conclusion…</a:t>
            </a:r>
          </a:p>
        </p:txBody>
      </p:sp>
      <p:sp>
        <p:nvSpPr>
          <p:cNvPr id="3" name="TextBox 2">
            <a:extLst>
              <a:ext uri="{FF2B5EF4-FFF2-40B4-BE49-F238E27FC236}">
                <a16:creationId xmlns:a16="http://schemas.microsoft.com/office/drawing/2014/main" id="{638F382B-F10A-4E6D-94EF-ED6E2C31945B}"/>
              </a:ext>
            </a:extLst>
          </p:cNvPr>
          <p:cNvSpPr txBox="1"/>
          <p:nvPr/>
        </p:nvSpPr>
        <p:spPr>
          <a:xfrm>
            <a:off x="409699" y="1407226"/>
            <a:ext cx="7552706" cy="2462213"/>
          </a:xfrm>
          <a:prstGeom prst="rect">
            <a:avLst/>
          </a:prstGeom>
          <a:noFill/>
        </p:spPr>
        <p:txBody>
          <a:bodyPr wrap="square" rtlCol="0">
            <a:spAutoFit/>
          </a:bodyPr>
          <a:lstStyle/>
          <a:p>
            <a:pPr marL="285750" indent="-285750">
              <a:buFont typeface="Arial" panose="020B0604020202020204" pitchFamily="34" charset="0"/>
              <a:buChar char="•"/>
            </a:pPr>
            <a:r>
              <a:rPr lang="en-US" i="1" dirty="0">
                <a:solidFill>
                  <a:schemeClr val="accent2">
                    <a:lumMod val="75000"/>
                  </a:schemeClr>
                </a:solidFill>
              </a:rPr>
              <a:t>There has been a strong impact on businesses in all domains due to </a:t>
            </a:r>
            <a:r>
              <a:rPr lang="en-US" i="1" dirty="0" err="1">
                <a:solidFill>
                  <a:schemeClr val="accent2">
                    <a:lumMod val="75000"/>
                  </a:schemeClr>
                </a:solidFill>
              </a:rPr>
              <a:t>Covid</a:t>
            </a:r>
            <a:r>
              <a:rPr lang="en-US" i="1" dirty="0">
                <a:solidFill>
                  <a:schemeClr val="accent2">
                    <a:lumMod val="75000"/>
                  </a:schemeClr>
                </a:solidFill>
              </a:rPr>
              <a:t>.</a:t>
            </a:r>
          </a:p>
          <a:p>
            <a:pPr marL="285750" indent="-285750">
              <a:buFont typeface="Arial" panose="020B0604020202020204" pitchFamily="34" charset="0"/>
              <a:buChar char="•"/>
            </a:pPr>
            <a:endParaRPr lang="en-US" i="1" dirty="0">
              <a:solidFill>
                <a:schemeClr val="accent2">
                  <a:lumMod val="75000"/>
                </a:schemeClr>
              </a:solidFill>
            </a:endParaRPr>
          </a:p>
          <a:p>
            <a:pPr marL="285750" indent="-285750">
              <a:buFont typeface="Arial" panose="020B0604020202020204" pitchFamily="34" charset="0"/>
              <a:buChar char="•"/>
            </a:pPr>
            <a:r>
              <a:rPr lang="en-US" i="1" dirty="0">
                <a:solidFill>
                  <a:schemeClr val="accent2">
                    <a:lumMod val="75000"/>
                  </a:schemeClr>
                </a:solidFill>
              </a:rPr>
              <a:t>Tours and Travels, mainly airlines industries along with entertainment and retail have been most negatively impacted.</a:t>
            </a:r>
          </a:p>
          <a:p>
            <a:pPr marL="285750" indent="-285750">
              <a:buFont typeface="Arial" panose="020B0604020202020204" pitchFamily="34" charset="0"/>
              <a:buChar char="•"/>
            </a:pPr>
            <a:endParaRPr lang="en-US" i="1" dirty="0">
              <a:solidFill>
                <a:schemeClr val="accent2">
                  <a:lumMod val="75000"/>
                </a:schemeClr>
              </a:solidFill>
            </a:endParaRPr>
          </a:p>
          <a:p>
            <a:pPr marL="285750" indent="-285750">
              <a:buFont typeface="Arial" panose="020B0604020202020204" pitchFamily="34" charset="0"/>
              <a:buChar char="•"/>
            </a:pPr>
            <a:r>
              <a:rPr lang="en-US" i="1" dirty="0">
                <a:solidFill>
                  <a:schemeClr val="accent2">
                    <a:lumMod val="75000"/>
                  </a:schemeClr>
                </a:solidFill>
              </a:rPr>
              <a:t>Social distance have given rise to the demand of online communication and home delivery</a:t>
            </a:r>
          </a:p>
          <a:p>
            <a:r>
              <a:rPr lang="en-US" i="1" dirty="0">
                <a:solidFill>
                  <a:schemeClr val="accent2">
                    <a:lumMod val="75000"/>
                  </a:schemeClr>
                </a:solidFill>
              </a:rPr>
              <a:t>causing a sharp increase in their value.</a:t>
            </a:r>
          </a:p>
          <a:p>
            <a:endParaRPr lang="en-US" i="1" dirty="0">
              <a:solidFill>
                <a:schemeClr val="accent2">
                  <a:lumMod val="75000"/>
                </a:schemeClr>
              </a:solidFill>
            </a:endParaRPr>
          </a:p>
          <a:p>
            <a:pPr marL="285750" indent="-285750">
              <a:buFont typeface="Arial" panose="020B0604020202020204" pitchFamily="34" charset="0"/>
              <a:buChar char="•"/>
            </a:pPr>
            <a:r>
              <a:rPr lang="en-US" i="1" dirty="0">
                <a:solidFill>
                  <a:schemeClr val="accent2">
                    <a:lumMod val="75000"/>
                  </a:schemeClr>
                </a:solidFill>
              </a:rPr>
              <a:t>Covid19 had caused a big uncertainty causing S&amp;P500 to fall to its lowest value causing panic trading in March 2020</a:t>
            </a:r>
          </a:p>
          <a:p>
            <a:endParaRPr lang="en-US" i="1" dirty="0">
              <a:solidFill>
                <a:schemeClr val="accent2">
                  <a:lumMod val="75000"/>
                </a:schemeClr>
              </a:solidFill>
            </a:endParaRPr>
          </a:p>
        </p:txBody>
      </p:sp>
    </p:spTree>
    <p:extLst>
      <p:ext uri="{BB962C8B-B14F-4D97-AF65-F5344CB8AC3E}">
        <p14:creationId xmlns:p14="http://schemas.microsoft.com/office/powerpoint/2010/main" val="549835616"/>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040</TotalTime>
  <Words>627</Words>
  <Application>Microsoft Office PowerPoint</Application>
  <PresentationFormat>Custom</PresentationFormat>
  <Paragraphs>46</Paragraphs>
  <Slides>9</Slides>
  <Notes>6</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5" baseType="lpstr">
      <vt:lpstr>Batang</vt:lpstr>
      <vt:lpstr>Arial</vt:lpstr>
      <vt:lpstr>Quattrocento Sans</vt:lpstr>
      <vt:lpstr>Synergy_CF_YNR002</vt:lpstr>
      <vt:lpstr>1_Synergy_CF_YNR002</vt:lpstr>
      <vt:lpstr>TCLayout.ActiveDocument.1</vt:lpstr>
      <vt:lpstr>Southern Water Corp – Technical Presentation</vt:lpstr>
      <vt:lpstr>The stock market has shown a huge rise and fall during the months when Covid had impacted the country most This analysis of stock’s values for the period between the months of January 2020 and April 2020 is to understand the impact of covid19 on different sectors. </vt:lpstr>
      <vt:lpstr>Understanding the effect of the pandemic on different stocks would enable investors in avoiding the sectors negatively impacted and investing in positively impacted sectors instead</vt:lpstr>
      <vt:lpstr>There had been a large volume of stocks traded in March of 2020. This deviation can be further studied by doing statistical analysis of the behaviour of past data.</vt:lpstr>
      <vt:lpstr>Analysis by doing a time plot of the HIGH, LOW, OPEN and CLOSE costs for last 3 years shows few stocks going up in price while mostly showing a fall in price</vt:lpstr>
      <vt:lpstr>Further analysis of HIGH and LOW values of stocks from different sectors shows few stocks, like those from Technology going up while most of other belonging to entertainment, travel and hospitality has gone down in March</vt:lpstr>
      <vt:lpstr>Box-plot Analysis of the stocks shows lots of outliers present for volume, specially in Airlines industries followed by tech and retail. Outliers are present in high and low values of prices of stocks present in travel , tech and retail.</vt:lpstr>
      <vt:lpstr>Boxplot analysis shows outliers present for high and low values for most negatively impacted industries( Airlines, retail) to most positively impacted industries (ZM. Slack) .</vt:lpstr>
      <vt:lpstr>In 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Sangeeta Chatterjee</cp:lastModifiedBy>
  <cp:revision>2</cp:revision>
  <dcterms:created xsi:type="dcterms:W3CDTF">2015-09-14T11:37:31Z</dcterms:created>
  <dcterms:modified xsi:type="dcterms:W3CDTF">2020-06-11T16:3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